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8" r:id="rId3"/>
    <p:sldId id="260" r:id="rId4"/>
    <p:sldId id="259" r:id="rId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89" d="100"/>
          <a:sy n="89" d="100"/>
        </p:scale>
        <p:origin x="384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7" Type="http://schemas.openxmlformats.org/officeDocument/2006/relationships/viewProps" Target="viewProps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k object 17"/>
          <p:cNvSpPr/>
          <p:nvPr userDrawn="1"/>
        </p:nvSpPr>
        <p:spPr>
          <a:xfrm>
            <a:off x="0" y="697880"/>
            <a:ext cx="12192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12700">
            <a:solidFill>
              <a:srgbClr val="000099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wrap="squar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sz="1705" dirty="0">
              <a:solidFill>
                <a:prstClr val="black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  <p:sp>
        <p:nvSpPr>
          <p:cNvPr id="6" name="灯片编号占位符 2"/>
          <p:cNvSpPr txBox="1"/>
          <p:nvPr userDrawn="1">
            <p:custDataLst>
              <p:tags r:id="rId2"/>
            </p:custDataLst>
          </p:nvPr>
        </p:nvSpPr>
        <p:spPr>
          <a:xfrm>
            <a:off x="9782810" y="6568447"/>
            <a:ext cx="2123396" cy="273112"/>
          </a:xfrm>
          <a:prstGeom prst="rect">
            <a:avLst/>
          </a:prstGeom>
        </p:spPr>
        <p:txBody>
          <a:bodyPr lIns="86680" tIns="43339" rIns="86680" bIns="43339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640080" indent="-1828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1282700" indent="-3683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925955" indent="-55435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2568575" indent="-73977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 algn="r"/>
            <a:r>
              <a:rPr lang="zh-CN" altLang="en-US" sz="95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90204" pitchFamily="34" charset="0"/>
                <a:ea typeface="微软雅黑" panose="020B0503020204020204" pitchFamily="34" charset="-122"/>
                <a:cs typeface="Arial" panose="020B0604020202090204" pitchFamily="34" charset="0"/>
              </a:rPr>
              <a:t>第 </a:t>
            </a:r>
            <a:fld id="{21E62DCA-69A4-49C6-909B-C727EFF5B594}" type="slidenum">
              <a:rPr lang="en-US" altLang="zh-CN" sz="95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90204" pitchFamily="34" charset="0"/>
                <a:ea typeface="微软雅黑" panose="020B0503020204020204" pitchFamily="34" charset="-122"/>
                <a:cs typeface="Arial" panose="020B0604020202090204" pitchFamily="34" charset="0"/>
              </a:rPr>
            </a:fld>
            <a:r>
              <a:rPr lang="en-US" altLang="zh-CN" sz="95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90204" pitchFamily="34" charset="0"/>
                <a:ea typeface="微软雅黑" panose="020B0503020204020204" pitchFamily="34" charset="-122"/>
                <a:cs typeface="Arial" panose="020B0604020202090204" pitchFamily="34" charset="0"/>
              </a:rPr>
              <a:t> </a:t>
            </a:r>
            <a:r>
              <a:rPr lang="zh-CN" altLang="en-US" sz="95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90204" pitchFamily="34" charset="0"/>
                <a:ea typeface="微软雅黑" panose="020B0503020204020204" pitchFamily="34" charset="-122"/>
                <a:cs typeface="Arial" panose="020B0604020202090204" pitchFamily="34" charset="0"/>
              </a:rPr>
              <a:t>页 </a:t>
            </a:r>
            <a:endParaRPr lang="zh-CN" altLang="en-US" sz="950" dirty="0" smtClean="0">
              <a:solidFill>
                <a:prstClr val="black">
                  <a:lumMod val="50000"/>
                  <a:lumOff val="50000"/>
                </a:prstClr>
              </a:solidFill>
              <a:latin typeface="Arial" panose="020B0604020202090204" pitchFamily="34" charset="0"/>
              <a:ea typeface="微软雅黑" panose="020B0503020204020204" pitchFamily="34" charset="-122"/>
              <a:cs typeface="Arial" panose="020B0604020202090204" pitchFamily="34" charset="0"/>
            </a:endParaRPr>
          </a:p>
          <a:p>
            <a:pPr algn="r"/>
            <a:endParaRPr lang="zh-CN" altLang="en-US" sz="950" b="1" dirty="0">
              <a:solidFill>
                <a:prstClr val="black">
                  <a:lumMod val="50000"/>
                  <a:lumOff val="50000"/>
                </a:prstClr>
              </a:solidFill>
              <a:latin typeface="Arial" panose="020B0604020202090204" pitchFamily="34" charset="0"/>
              <a:ea typeface="微软雅黑" panose="020B0503020204020204" pitchFamily="34" charset="-122"/>
              <a:cs typeface="Arial" panose="020B060402020209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6.xml"/><Relationship Id="rId8" Type="http://schemas.openxmlformats.org/officeDocument/2006/relationships/tags" Target="../tags/tag5.xml"/><Relationship Id="rId7" Type="http://schemas.openxmlformats.org/officeDocument/2006/relationships/tags" Target="../tags/tag4.xml"/><Relationship Id="rId6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Relationship Id="rId3" Type="http://schemas.openxmlformats.org/officeDocument/2006/relationships/tags" Target="../tags/tag2.xml"/><Relationship Id="rId23" Type="http://schemas.openxmlformats.org/officeDocument/2006/relationships/theme" Target="../theme/theme1.xml"/><Relationship Id="rId22" Type="http://schemas.openxmlformats.org/officeDocument/2006/relationships/vmlDrawing" Target="../drawings/vmlDrawing1.vml"/><Relationship Id="rId21" Type="http://schemas.openxmlformats.org/officeDocument/2006/relationships/image" Target="../media/image2.png"/><Relationship Id="rId20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9" Type="http://schemas.openxmlformats.org/officeDocument/2006/relationships/tags" Target="../tags/tag16.xml"/><Relationship Id="rId18" Type="http://schemas.openxmlformats.org/officeDocument/2006/relationships/tags" Target="../tags/tag15.xml"/><Relationship Id="rId17" Type="http://schemas.openxmlformats.org/officeDocument/2006/relationships/tags" Target="../tags/tag14.xml"/><Relationship Id="rId16" Type="http://schemas.openxmlformats.org/officeDocument/2006/relationships/tags" Target="../tags/tag13.xml"/><Relationship Id="rId15" Type="http://schemas.openxmlformats.org/officeDocument/2006/relationships/tags" Target="../tags/tag12.xml"/><Relationship Id="rId14" Type="http://schemas.openxmlformats.org/officeDocument/2006/relationships/tags" Target="../tags/tag11.xml"/><Relationship Id="rId13" Type="http://schemas.openxmlformats.org/officeDocument/2006/relationships/tags" Target="../tags/tag10.xml"/><Relationship Id="rId12" Type="http://schemas.openxmlformats.org/officeDocument/2006/relationships/tags" Target="../tags/tag9.xml"/><Relationship Id="rId11" Type="http://schemas.openxmlformats.org/officeDocument/2006/relationships/tags" Target="../tags/tag8.xml"/><Relationship Id="rId10" Type="http://schemas.openxmlformats.org/officeDocument/2006/relationships/tags" Target="../tags/tag7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/>
          <p:nvPr>
            <p:custDataLst>
              <p:tags r:id="rId3"/>
            </p:custDataLst>
          </p:nvPr>
        </p:nvGraphicFramePr>
        <p:xfrm>
          <a:off x="1" y="22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图片 512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2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61988" y="9607"/>
            <a:ext cx="891270" cy="248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038225" fontAlgn="base">
              <a:spcBef>
                <a:spcPct val="0"/>
              </a:spcBef>
              <a:spcAft>
                <a:spcPct val="0"/>
              </a:spcAft>
            </a:pPr>
            <a:r>
              <a:rPr lang="en-US" sz="1610" dirty="0">
                <a:solidFill>
                  <a:srgbClr val="808080"/>
                </a:solidFill>
              </a:rPr>
              <a:t>TRACKER</a:t>
            </a:r>
            <a:endParaRPr lang="en-US" sz="161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1987" y="687568"/>
            <a:ext cx="6173075" cy="320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85" smtClean="0">
                <a:solidFill>
                  <a:srgbClr val="808080"/>
                </a:solidFill>
                <a:latin typeface="Century Gothic"/>
              </a:rPr>
              <a:t>Unit of measure</a:t>
            </a:r>
            <a:endParaRPr lang="en-US" sz="2085" dirty="0">
              <a:solidFill>
                <a:srgbClr val="808080"/>
              </a:solidFill>
              <a:latin typeface="Century Gothic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1987" y="6330005"/>
            <a:ext cx="11630456" cy="391161"/>
            <a:chOff x="121489" y="6329978"/>
            <a:chExt cx="8722842" cy="39116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21491" y="6329978"/>
              <a:ext cx="8722840" cy="1604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9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9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9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9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9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9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9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9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90204" pitchFamily="34" charset="0"/>
                </a:defRPr>
              </a:lvl9pPr>
            </a:lstStyle>
            <a:p>
              <a:pPr marL="111760" indent="-11176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45" smtClean="0">
                  <a:solidFill>
                    <a:srgbClr val="000000"/>
                  </a:solidFill>
                  <a:latin typeface="Century Gothic"/>
                </a:rPr>
                <a:t>1 Footnote</a:t>
              </a:r>
              <a:r>
                <a:rPr lang="en-US" sz="1045" dirty="0">
                  <a:solidFill>
                    <a:srgbClr val="000000"/>
                  </a:solidFill>
                  <a:latin typeface="Century Gothic"/>
                </a:rPr>
                <a:t>	</a:t>
              </a:r>
              <a:endParaRPr lang="en-US" sz="1045" dirty="0">
                <a:solidFill>
                  <a:srgbClr val="000000"/>
                </a:solidFill>
                <a:latin typeface="Century Gothic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21489" y="6560645"/>
              <a:ext cx="8323585" cy="1604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30860" indent="-530860" defTabSz="1217295" fontAlgn="base">
                <a:spcBef>
                  <a:spcPct val="0"/>
                </a:spcBef>
                <a:spcAft>
                  <a:spcPct val="0"/>
                </a:spcAft>
                <a:tabLst>
                  <a:tab pos="536575" algn="l"/>
                </a:tabLst>
              </a:pPr>
              <a:r>
                <a:rPr lang="en-US" sz="1045" smtClean="0">
                  <a:solidFill>
                    <a:srgbClr val="000000"/>
                  </a:solidFill>
                </a:rPr>
                <a:t>Source: McKinsey</a:t>
              </a:r>
              <a:endParaRPr lang="en-US" sz="1045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/>
          <p:nvPr/>
        </p:nvGrpSpPr>
        <p:grpSpPr bwMode="auto">
          <a:xfrm>
            <a:off x="3169490" y="1882054"/>
            <a:ext cx="5853024" cy="660857"/>
            <a:chOff x="915" y="622"/>
            <a:chExt cx="2686" cy="40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22"/>
              <a:ext cx="2686" cy="4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0382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85" b="1" dirty="0">
                  <a:solidFill>
                    <a:srgbClr val="000000"/>
                  </a:solidFill>
                </a:rPr>
                <a:t>Title</a:t>
              </a:r>
              <a:endParaRPr lang="en-US" sz="2085" b="1" dirty="0">
                <a:solidFill>
                  <a:srgbClr val="000000"/>
                </a:solidFill>
              </a:endParaRPr>
            </a:p>
            <a:p>
              <a:pPr defTabSz="10382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85" smtClean="0">
                  <a:solidFill>
                    <a:srgbClr val="808080"/>
                  </a:solidFill>
                </a:rPr>
                <a:t>Unit of measure</a:t>
              </a:r>
              <a:endParaRPr lang="en-US" sz="2085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07" name="LegendBoxes" hidden="1"/>
          <p:cNvGrpSpPr/>
          <p:nvPr/>
        </p:nvGrpSpPr>
        <p:grpSpPr bwMode="auto">
          <a:xfrm>
            <a:off x="9344073" y="283972"/>
            <a:ext cx="1111251" cy="1331384"/>
            <a:chOff x="4936" y="176"/>
            <a:chExt cx="525" cy="629"/>
          </a:xfrm>
        </p:grpSpPr>
        <p:sp>
          <p:nvSpPr>
            <p:cNvPr id="10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65" cy="1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  <p:sp>
          <p:nvSpPr>
            <p:cNvPr id="10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38225" fontAlgn="base">
                <a:spcBef>
                  <a:spcPct val="0"/>
                </a:spcBef>
                <a:spcAft>
                  <a:spcPct val="0"/>
                </a:spcAft>
              </a:pPr>
              <a:endParaRPr lang="en-US" sz="2085" dirty="0">
                <a:solidFill>
                  <a:srgbClr val="000000"/>
                </a:solidFill>
              </a:endParaRPr>
            </a:p>
          </p:txBody>
        </p:sp>
        <p:sp>
          <p:nvSpPr>
            <p:cNvPr id="11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65" cy="1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  <p:sp>
          <p:nvSpPr>
            <p:cNvPr id="11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38225" fontAlgn="base">
                <a:spcBef>
                  <a:spcPct val="0"/>
                </a:spcBef>
                <a:spcAft>
                  <a:spcPct val="0"/>
                </a:spcAft>
              </a:pPr>
              <a:endParaRPr lang="en-US" sz="2085" dirty="0">
                <a:solidFill>
                  <a:srgbClr val="000000"/>
                </a:solidFill>
              </a:endParaRPr>
            </a:p>
          </p:txBody>
        </p:sp>
        <p:sp>
          <p:nvSpPr>
            <p:cNvPr id="11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65" cy="1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  <p:sp>
          <p:nvSpPr>
            <p:cNvPr id="11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38225" fontAlgn="base">
                <a:spcBef>
                  <a:spcPct val="0"/>
                </a:spcBef>
                <a:spcAft>
                  <a:spcPct val="0"/>
                </a:spcAft>
              </a:pPr>
              <a:endParaRPr lang="en-US" sz="2085" dirty="0">
                <a:solidFill>
                  <a:srgbClr val="000000"/>
                </a:solidFill>
              </a:endParaRPr>
            </a:p>
          </p:txBody>
        </p:sp>
        <p:sp>
          <p:nvSpPr>
            <p:cNvPr id="11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65" cy="1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  <p:sp>
          <p:nvSpPr>
            <p:cNvPr id="11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038225" fontAlgn="base">
                <a:spcBef>
                  <a:spcPct val="0"/>
                </a:spcBef>
                <a:spcAft>
                  <a:spcPct val="0"/>
                </a:spcAft>
              </a:pPr>
              <a:endParaRPr lang="en-US" sz="2085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6" name="LegendLines" hidden="1"/>
          <p:cNvGrpSpPr/>
          <p:nvPr/>
        </p:nvGrpSpPr>
        <p:grpSpPr bwMode="auto">
          <a:xfrm>
            <a:off x="8933462" y="283955"/>
            <a:ext cx="1521883" cy="975787"/>
            <a:chOff x="4750" y="176"/>
            <a:chExt cx="719" cy="461"/>
          </a:xfrm>
        </p:grpSpPr>
        <p:sp>
          <p:nvSpPr>
            <p:cNvPr id="11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038225" fontAlgn="base">
                <a:spcBef>
                  <a:spcPct val="0"/>
                </a:spcBef>
                <a:spcAft>
                  <a:spcPct val="0"/>
                </a:spcAft>
              </a:pPr>
              <a:endParaRPr lang="en-US" sz="2085" dirty="0">
                <a:solidFill>
                  <a:srgbClr val="000000"/>
                </a:solidFill>
              </a:endParaRPr>
            </a:p>
          </p:txBody>
        </p:sp>
        <p:sp>
          <p:nvSpPr>
            <p:cNvPr id="11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038225" fontAlgn="base">
                <a:spcBef>
                  <a:spcPct val="0"/>
                </a:spcBef>
                <a:spcAft>
                  <a:spcPct val="0"/>
                </a:spcAft>
              </a:pPr>
              <a:endParaRPr lang="en-US" sz="2085" dirty="0">
                <a:solidFill>
                  <a:srgbClr val="000000"/>
                </a:solidFill>
              </a:endParaRPr>
            </a:p>
          </p:txBody>
        </p:sp>
        <p:sp>
          <p:nvSpPr>
            <p:cNvPr id="11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038225" fontAlgn="base">
                <a:spcBef>
                  <a:spcPct val="0"/>
                </a:spcBef>
                <a:spcAft>
                  <a:spcPct val="0"/>
                </a:spcAft>
              </a:pPr>
              <a:endParaRPr lang="en-US" sz="2085" dirty="0">
                <a:solidFill>
                  <a:srgbClr val="000000"/>
                </a:solidFill>
              </a:endParaRPr>
            </a:p>
          </p:txBody>
        </p: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65" cy="1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65" cy="1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65" cy="1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23" name="McKSticker" hidden="1"/>
          <p:cNvGrpSpPr/>
          <p:nvPr/>
        </p:nvGrpSpPr>
        <p:grpSpPr bwMode="auto">
          <a:xfrm>
            <a:off x="9130350" y="283954"/>
            <a:ext cx="1316516" cy="275781"/>
            <a:chOff x="7753388" y="285750"/>
            <a:chExt cx="987387" cy="206835"/>
          </a:xfrm>
        </p:grpSpPr>
        <p:sp>
          <p:nvSpPr>
            <p:cNvPr id="124" name="StickerRectangle"/>
            <p:cNvSpPr>
              <a:spLocks noChangeArrowheads="1"/>
            </p:cNvSpPr>
            <p:nvPr/>
          </p:nvSpPr>
          <p:spPr bwMode="auto">
            <a:xfrm>
              <a:off x="7753388" y="285750"/>
              <a:ext cx="987387" cy="2068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808080"/>
                  </a:solidFill>
                </a:rPr>
                <a:t>PRELIMINARY</a:t>
              </a:r>
              <a:endParaRPr lang="en-US" sz="1610" dirty="0">
                <a:solidFill>
                  <a:srgbClr val="808080"/>
                </a:solidFill>
              </a:endParaRPr>
            </a:p>
          </p:txBody>
        </p:sp>
        <p:cxnSp>
          <p:nvCxnSpPr>
            <p:cNvPr id="125" name="AutoShape 31"/>
            <p:cNvCxnSpPr>
              <a:cxnSpLocks noChangeShapeType="1"/>
              <a:stCxn id="124" idx="2"/>
              <a:endCxn id="124" idx="4"/>
            </p:cNvCxnSpPr>
            <p:nvPr/>
          </p:nvCxnSpPr>
          <p:spPr bwMode="auto">
            <a:xfrm>
              <a:off x="7753388" y="285750"/>
              <a:ext cx="0" cy="20683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6" name="AutoShape 32"/>
            <p:cNvCxnSpPr>
              <a:cxnSpLocks noChangeShapeType="1"/>
              <a:stCxn id="124" idx="4"/>
              <a:endCxn id="124" idx="6"/>
            </p:cNvCxnSpPr>
            <p:nvPr/>
          </p:nvCxnSpPr>
          <p:spPr bwMode="auto">
            <a:xfrm>
              <a:off x="7753388" y="492585"/>
              <a:ext cx="98738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7" name="LegendMoons" hidden="1"/>
          <p:cNvGrpSpPr/>
          <p:nvPr/>
        </p:nvGrpSpPr>
        <p:grpSpPr bwMode="auto">
          <a:xfrm>
            <a:off x="9254134" y="283968"/>
            <a:ext cx="1200214" cy="1742021"/>
            <a:chOff x="6655594" y="273840"/>
            <a:chExt cx="900161" cy="1306516"/>
          </a:xfrm>
        </p:grpSpPr>
        <p:grpSp>
          <p:nvGrpSpPr>
            <p:cNvPr id="128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6" name="Oval 38"/>
              <p:cNvSpPr>
                <a:spLocks noChangeAspect="1"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38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8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Arc 39"/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38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8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9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44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38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8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38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8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0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42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38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8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38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85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1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40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38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8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38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85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3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79486" cy="1860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  <p:sp>
          <p:nvSpPr>
            <p:cNvPr id="13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79486" cy="1860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  <p:sp>
          <p:nvSpPr>
            <p:cNvPr id="13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79486" cy="1860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  <p:sp>
          <p:nvSpPr>
            <p:cNvPr id="13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79486" cy="1860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  <p:sp>
          <p:nvSpPr>
            <p:cNvPr id="13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79486" cy="1860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165" fontAlgn="base">
                <a:spcBef>
                  <a:spcPct val="0"/>
                </a:spcBef>
                <a:spcAft>
                  <a:spcPct val="0"/>
                </a:spcAft>
                <a:buClr>
                  <a:srgbClr val="7D0A3C"/>
                </a:buClr>
              </a:pPr>
              <a:r>
                <a:rPr lang="en-US" sz="1610" dirty="0">
                  <a:solidFill>
                    <a:srgbClr val="000000"/>
                  </a:solidFill>
                </a:rPr>
                <a:t>Legend</a:t>
              </a:r>
              <a:endParaRPr lang="en-US" sz="1610" dirty="0">
                <a:solidFill>
                  <a:srgbClr val="000000"/>
                </a:solidFill>
              </a:endParaRPr>
            </a:p>
          </p:txBody>
        </p:sp>
        <p:grpSp>
          <p:nvGrpSpPr>
            <p:cNvPr id="137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38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8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038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85" dirty="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59" name="图片 58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140" y="83379"/>
            <a:ext cx="1024863" cy="546224"/>
          </a:xfrm>
          <a:prstGeom prst="rect">
            <a:avLst/>
          </a:prstGeom>
        </p:spPr>
      </p:pic>
      <p:sp>
        <p:nvSpPr>
          <p:cNvPr id="60" name="bk object 17"/>
          <p:cNvSpPr/>
          <p:nvPr/>
        </p:nvSpPr>
        <p:spPr>
          <a:xfrm>
            <a:off x="0" y="697880"/>
            <a:ext cx="12192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3175"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wrap="squar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sz="1705" dirty="0">
              <a:solidFill>
                <a:prstClr val="black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1217295" rtl="0" eaLnBrk="1" fontAlgn="base" hangingPunct="1">
        <a:spcBef>
          <a:spcPct val="0"/>
        </a:spcBef>
        <a:spcAft>
          <a:spcPct val="0"/>
        </a:spcAft>
        <a:tabLst>
          <a:tab pos="366395" algn="l"/>
        </a:tabLst>
        <a:defRPr sz="2940" b="1" baseline="0">
          <a:solidFill>
            <a:schemeClr val="accent3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defTabSz="1217295" rtl="0" eaLnBrk="1" fontAlgn="base" hangingPunct="1">
        <a:spcBef>
          <a:spcPct val="0"/>
        </a:spcBef>
        <a:spcAft>
          <a:spcPct val="0"/>
        </a:spcAft>
        <a:defRPr sz="2560" b="1">
          <a:solidFill>
            <a:schemeClr val="tx2"/>
          </a:solidFill>
          <a:latin typeface="Arial" panose="020B0604020202090204" pitchFamily="34" charset="0"/>
        </a:defRPr>
      </a:lvl2pPr>
      <a:lvl3pPr algn="l" defTabSz="1217295" rtl="0" eaLnBrk="1" fontAlgn="base" hangingPunct="1">
        <a:spcBef>
          <a:spcPct val="0"/>
        </a:spcBef>
        <a:spcAft>
          <a:spcPct val="0"/>
        </a:spcAft>
        <a:defRPr sz="2560" b="1">
          <a:solidFill>
            <a:schemeClr val="tx2"/>
          </a:solidFill>
          <a:latin typeface="Arial" panose="020B0604020202090204" pitchFamily="34" charset="0"/>
        </a:defRPr>
      </a:lvl3pPr>
      <a:lvl4pPr algn="l" defTabSz="1217295" rtl="0" eaLnBrk="1" fontAlgn="base" hangingPunct="1">
        <a:spcBef>
          <a:spcPct val="0"/>
        </a:spcBef>
        <a:spcAft>
          <a:spcPct val="0"/>
        </a:spcAft>
        <a:defRPr sz="2560" b="1">
          <a:solidFill>
            <a:schemeClr val="tx2"/>
          </a:solidFill>
          <a:latin typeface="Arial" panose="020B0604020202090204" pitchFamily="34" charset="0"/>
        </a:defRPr>
      </a:lvl4pPr>
      <a:lvl5pPr algn="l" defTabSz="1217295" rtl="0" eaLnBrk="1" fontAlgn="base" hangingPunct="1">
        <a:spcBef>
          <a:spcPct val="0"/>
        </a:spcBef>
        <a:spcAft>
          <a:spcPct val="0"/>
        </a:spcAft>
        <a:defRPr sz="2560" b="1">
          <a:solidFill>
            <a:schemeClr val="tx2"/>
          </a:solidFill>
          <a:latin typeface="Arial" panose="020B0604020202090204" pitchFamily="34" charset="0"/>
        </a:defRPr>
      </a:lvl5pPr>
      <a:lvl6pPr marL="621665" algn="l" defTabSz="1217295" rtl="0" eaLnBrk="1" fontAlgn="base" hangingPunct="1">
        <a:spcBef>
          <a:spcPct val="0"/>
        </a:spcBef>
        <a:spcAft>
          <a:spcPct val="0"/>
        </a:spcAft>
        <a:defRPr sz="2560" b="1">
          <a:solidFill>
            <a:schemeClr val="tx2"/>
          </a:solidFill>
          <a:latin typeface="Arial" panose="020B0604020202090204" pitchFamily="34" charset="0"/>
        </a:defRPr>
      </a:lvl6pPr>
      <a:lvl7pPr marL="1243330" algn="l" defTabSz="1217295" rtl="0" eaLnBrk="1" fontAlgn="base" hangingPunct="1">
        <a:spcBef>
          <a:spcPct val="0"/>
        </a:spcBef>
        <a:spcAft>
          <a:spcPct val="0"/>
        </a:spcAft>
        <a:defRPr sz="2560" b="1">
          <a:solidFill>
            <a:schemeClr val="tx2"/>
          </a:solidFill>
          <a:latin typeface="Arial" panose="020B0604020202090204" pitchFamily="34" charset="0"/>
        </a:defRPr>
      </a:lvl7pPr>
      <a:lvl8pPr marL="1864995" algn="l" defTabSz="1217295" rtl="0" eaLnBrk="1" fontAlgn="base" hangingPunct="1">
        <a:spcBef>
          <a:spcPct val="0"/>
        </a:spcBef>
        <a:spcAft>
          <a:spcPct val="0"/>
        </a:spcAft>
        <a:defRPr sz="2560" b="1">
          <a:solidFill>
            <a:schemeClr val="tx2"/>
          </a:solidFill>
          <a:latin typeface="Arial" panose="020B0604020202090204" pitchFamily="34" charset="0"/>
        </a:defRPr>
      </a:lvl8pPr>
      <a:lvl9pPr marL="2487295" algn="l" defTabSz="1217295" rtl="0" eaLnBrk="1" fontAlgn="base" hangingPunct="1">
        <a:spcBef>
          <a:spcPct val="0"/>
        </a:spcBef>
        <a:spcAft>
          <a:spcPct val="0"/>
        </a:spcAft>
        <a:defRPr sz="2560" b="1">
          <a:solidFill>
            <a:schemeClr val="tx2"/>
          </a:solidFill>
          <a:latin typeface="Arial" panose="020B0604020202090204" pitchFamily="34" charset="0"/>
        </a:defRPr>
      </a:lvl9pPr>
    </p:titleStyle>
    <p:bodyStyle>
      <a:lvl1pPr marL="0" indent="0" algn="l" defTabSz="121729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085" baseline="0">
          <a:solidFill>
            <a:schemeClr val="accent3">
              <a:lumMod val="50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262890" indent="-260985" algn="l" defTabSz="12172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90204" pitchFamily="34" charset="0"/>
        <a:buChar char="▪"/>
        <a:defRPr sz="2085" baseline="0">
          <a:solidFill>
            <a:schemeClr val="tx1"/>
          </a:solidFill>
          <a:latin typeface="+mn-lt"/>
        </a:defRPr>
      </a:lvl2pPr>
      <a:lvl3pPr marL="603250" indent="-338455" algn="l" defTabSz="12172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90204" pitchFamily="34" charset="0"/>
        <a:buChar char="–"/>
        <a:defRPr sz="2085" baseline="0">
          <a:solidFill>
            <a:schemeClr val="tx1"/>
          </a:solidFill>
          <a:latin typeface="+mn-lt"/>
        </a:defRPr>
      </a:lvl3pPr>
      <a:lvl4pPr marL="812800" indent="-230505" algn="l" defTabSz="12172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90204" pitchFamily="34" charset="0"/>
        <a:buChar char="▫"/>
        <a:defRPr sz="2085" baseline="0">
          <a:solidFill>
            <a:schemeClr val="tx1"/>
          </a:solidFill>
          <a:latin typeface="+mn-lt"/>
        </a:defRPr>
      </a:lvl4pPr>
      <a:lvl5pPr marL="1035050" indent="-205105" algn="l" defTabSz="12172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2085" baseline="0">
          <a:solidFill>
            <a:schemeClr val="tx1"/>
          </a:solidFill>
          <a:latin typeface="+mn-lt"/>
        </a:defRPr>
      </a:lvl5pPr>
      <a:lvl6pPr marL="1019810" indent="-177165" algn="l" defTabSz="12172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2085" baseline="0">
          <a:solidFill>
            <a:schemeClr val="tx1"/>
          </a:solidFill>
          <a:latin typeface="+mn-lt"/>
        </a:defRPr>
      </a:lvl6pPr>
      <a:lvl7pPr marL="1019810" indent="-177165" algn="l" defTabSz="12172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2085" baseline="0">
          <a:solidFill>
            <a:schemeClr val="tx1"/>
          </a:solidFill>
          <a:latin typeface="+mn-lt"/>
        </a:defRPr>
      </a:lvl7pPr>
      <a:lvl8pPr marL="1019810" indent="-177165" algn="l" defTabSz="12172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2085" baseline="0">
          <a:solidFill>
            <a:schemeClr val="tx1"/>
          </a:solidFill>
          <a:latin typeface="+mn-lt"/>
        </a:defRPr>
      </a:lvl8pPr>
      <a:lvl9pPr marL="1019810" indent="-177165" algn="l" defTabSz="12172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2085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2695" rtl="0" eaLnBrk="1" latinLnBrk="0" hangingPunct="1">
        <a:defRPr sz="2370" kern="1200">
          <a:solidFill>
            <a:schemeClr val="tx1"/>
          </a:solidFill>
          <a:latin typeface="+mn-lt"/>
          <a:ea typeface="+mn-ea"/>
          <a:cs typeface="+mn-cs"/>
        </a:defRPr>
      </a:lvl1pPr>
      <a:lvl2pPr marL="621665" algn="l" defTabSz="1242695" rtl="0" eaLnBrk="1" latinLnBrk="0" hangingPunct="1">
        <a:defRPr sz="2370" kern="1200">
          <a:solidFill>
            <a:schemeClr val="tx1"/>
          </a:solidFill>
          <a:latin typeface="+mn-lt"/>
          <a:ea typeface="+mn-ea"/>
          <a:cs typeface="+mn-cs"/>
        </a:defRPr>
      </a:lvl2pPr>
      <a:lvl3pPr marL="1243330" algn="l" defTabSz="1242695" rtl="0" eaLnBrk="1" latinLnBrk="0" hangingPunct="1">
        <a:defRPr sz="2370" kern="1200">
          <a:solidFill>
            <a:schemeClr val="tx1"/>
          </a:solidFill>
          <a:latin typeface="+mn-lt"/>
          <a:ea typeface="+mn-ea"/>
          <a:cs typeface="+mn-cs"/>
        </a:defRPr>
      </a:lvl3pPr>
      <a:lvl4pPr marL="1864995" algn="l" defTabSz="1242695" rtl="0" eaLnBrk="1" latinLnBrk="0" hangingPunct="1">
        <a:defRPr sz="2370" kern="1200">
          <a:solidFill>
            <a:schemeClr val="tx1"/>
          </a:solidFill>
          <a:latin typeface="+mn-lt"/>
          <a:ea typeface="+mn-ea"/>
          <a:cs typeface="+mn-cs"/>
        </a:defRPr>
      </a:lvl4pPr>
      <a:lvl5pPr marL="2487295" algn="l" defTabSz="1242695" rtl="0" eaLnBrk="1" latinLnBrk="0" hangingPunct="1">
        <a:defRPr sz="2370" kern="1200">
          <a:solidFill>
            <a:schemeClr val="tx1"/>
          </a:solidFill>
          <a:latin typeface="+mn-lt"/>
          <a:ea typeface="+mn-ea"/>
          <a:cs typeface="+mn-cs"/>
        </a:defRPr>
      </a:lvl5pPr>
      <a:lvl6pPr marL="3108960" algn="l" defTabSz="1242695" rtl="0" eaLnBrk="1" latinLnBrk="0" hangingPunct="1">
        <a:defRPr sz="2370" kern="1200">
          <a:solidFill>
            <a:schemeClr val="tx1"/>
          </a:solidFill>
          <a:latin typeface="+mn-lt"/>
          <a:ea typeface="+mn-ea"/>
          <a:cs typeface="+mn-cs"/>
        </a:defRPr>
      </a:lvl6pPr>
      <a:lvl7pPr marL="3729990" algn="l" defTabSz="1242695" rtl="0" eaLnBrk="1" latinLnBrk="0" hangingPunct="1">
        <a:defRPr sz="2370" kern="1200">
          <a:solidFill>
            <a:schemeClr val="tx1"/>
          </a:solidFill>
          <a:latin typeface="+mn-lt"/>
          <a:ea typeface="+mn-ea"/>
          <a:cs typeface="+mn-cs"/>
        </a:defRPr>
      </a:lvl7pPr>
      <a:lvl8pPr marL="4352290" algn="l" defTabSz="1242695" rtl="0" eaLnBrk="1" latinLnBrk="0" hangingPunct="1">
        <a:defRPr sz="2370" kern="1200">
          <a:solidFill>
            <a:schemeClr val="tx1"/>
          </a:solidFill>
          <a:latin typeface="+mn-lt"/>
          <a:ea typeface="+mn-ea"/>
          <a:cs typeface="+mn-cs"/>
        </a:defRPr>
      </a:lvl8pPr>
      <a:lvl9pPr marL="4973955" algn="l" defTabSz="1242695" rtl="0" eaLnBrk="1" latinLnBrk="0" hangingPunct="1">
        <a:defRPr sz="23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 txBox="1"/>
          <p:nvPr/>
        </p:nvSpPr>
        <p:spPr>
          <a:xfrm>
            <a:off x="310059" y="253659"/>
            <a:ext cx="10881887" cy="248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宝能车型规划数</a:t>
            </a:r>
            <a:endParaRPr lang="zh-CN" altLang="en-US" sz="1800" b="1" dirty="0" smtClean="0">
              <a:solidFill>
                <a:prstClr val="black"/>
              </a:solidFill>
              <a:latin typeface="微软雅黑" panose="020B0503020204020204" pitchFamily="34" charset="-122"/>
              <a:ea typeface="微软雅黑"/>
              <a:cs typeface="Verdana" panose="020B0804030504040204" pitchFamily="34" charset="0"/>
            </a:endParaRPr>
          </a:p>
        </p:txBody>
      </p:sp>
      <p:graphicFrame>
        <p:nvGraphicFramePr>
          <p:cNvPr id="29" name="表格 28"/>
          <p:cNvGraphicFramePr>
            <a:graphicFrameLocks noGrp="1"/>
          </p:cNvGraphicFramePr>
          <p:nvPr/>
        </p:nvGraphicFramePr>
        <p:xfrm>
          <a:off x="1489710" y="1268095"/>
          <a:ext cx="9213215" cy="3659505"/>
        </p:xfrm>
        <a:graphic>
          <a:graphicData uri="http://schemas.openxmlformats.org/drawingml/2006/table">
            <a:tbl>
              <a:tblPr/>
              <a:tblGrid>
                <a:gridCol w="1075055"/>
                <a:gridCol w="1348105"/>
                <a:gridCol w="1348740"/>
                <a:gridCol w="1349375"/>
                <a:gridCol w="1348740"/>
                <a:gridCol w="1348105"/>
                <a:gridCol w="1395095"/>
              </a:tblGrid>
              <a:tr h="77660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20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0</a:t>
                      </a:r>
                      <a:endParaRPr lang="en-US" altLang="zh-CN" sz="20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endParaRPr lang="en-US" altLang="zh-CN" sz="20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</a:t>
                      </a:r>
                      <a:endParaRPr lang="en-US" altLang="zh-CN" sz="20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</a:t>
                      </a:r>
                      <a:endParaRPr lang="en-US" altLang="zh-CN" sz="20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4</a:t>
                      </a:r>
                      <a:endParaRPr lang="en-US" altLang="zh-CN" sz="20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  <a:endParaRPr lang="en-US" altLang="zh-CN" sz="20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</a:tr>
              <a:tr h="89789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20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13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20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32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</a:t>
                      </a:r>
                      <a:r>
                        <a:rPr lang="zh-CN" alt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20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en-US" altLang="zh-CN" sz="20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038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  <a:endParaRPr lang="zh-CN" altLang="en-US" sz="20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en-US" altLang="zh-CN" sz="20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endParaRPr lang="en-US" altLang="zh-CN" sz="20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endParaRPr lang="en-US" altLang="zh-CN" sz="20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  <a:endParaRPr lang="en-US" altLang="zh-CN" sz="20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endParaRPr lang="en-US" altLang="zh-CN" sz="20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  <a:endParaRPr lang="en-US" altLang="zh-CN" sz="20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5" name="文本框 4"/>
          <p:cNvSpPr txBox="1"/>
          <p:nvPr/>
        </p:nvSpPr>
        <p:spPr>
          <a:xfrm>
            <a:off x="4554647" y="6152598"/>
            <a:ext cx="6845182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详细参见下一页</a:t>
            </a:r>
            <a:endParaRPr lang="zh-CN" altLang="en-US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442085" y="860425"/>
            <a:ext cx="248539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单位：款</a:t>
            </a:r>
            <a:endParaRPr lang="zh-CN" altLang="en-US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 txBox="1"/>
          <p:nvPr/>
        </p:nvSpPr>
        <p:spPr>
          <a:xfrm>
            <a:off x="310059" y="253659"/>
            <a:ext cx="10881887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宝汽销量规划</a:t>
            </a:r>
            <a:r>
              <a:rPr lang="en-US" altLang="zh-CN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19</a:t>
            </a:r>
            <a:r>
              <a:rPr lang="zh-CN" altLang="en-US" sz="18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年</a:t>
            </a:r>
            <a:r>
              <a:rPr lang="en-US" altLang="zh-CN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12</a:t>
            </a:r>
            <a:r>
              <a:rPr lang="zh-CN" altLang="en-US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月版</a:t>
            </a:r>
            <a:r>
              <a:rPr lang="en-US" altLang="zh-CN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-</a:t>
            </a:r>
            <a:r>
              <a:rPr lang="zh-CN" altLang="en-US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保守</a:t>
            </a:r>
            <a:r>
              <a:rPr lang="zh-CN" altLang="en-US" sz="18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版</a:t>
            </a:r>
            <a:endParaRPr lang="zh-CN" altLang="en-US" sz="1800" b="1" dirty="0">
              <a:solidFill>
                <a:prstClr val="black"/>
              </a:solidFill>
              <a:latin typeface="微软雅黑" panose="020B0503020204020204" pitchFamily="34" charset="-122"/>
              <a:ea typeface="微软雅黑"/>
              <a:cs typeface="Verdana" panose="020B0804030504040204" pitchFamily="34" charset="0"/>
            </a:endParaRPr>
          </a:p>
        </p:txBody>
      </p:sp>
      <p:graphicFrame>
        <p:nvGraphicFramePr>
          <p:cNvPr id="29" name="表格 28"/>
          <p:cNvGraphicFramePr>
            <a:graphicFrameLocks noGrp="1"/>
          </p:cNvGraphicFramePr>
          <p:nvPr/>
        </p:nvGraphicFramePr>
        <p:xfrm>
          <a:off x="871677" y="990785"/>
          <a:ext cx="10682234" cy="5264735"/>
        </p:xfrm>
        <a:graphic>
          <a:graphicData uri="http://schemas.openxmlformats.org/drawingml/2006/table">
            <a:tbl>
              <a:tblPr/>
              <a:tblGrid>
                <a:gridCol w="686819"/>
                <a:gridCol w="686819"/>
                <a:gridCol w="964470"/>
                <a:gridCol w="818338"/>
                <a:gridCol w="686819"/>
                <a:gridCol w="686819"/>
                <a:gridCol w="862178"/>
                <a:gridCol w="862178"/>
                <a:gridCol w="862178"/>
                <a:gridCol w="862178"/>
                <a:gridCol w="862178"/>
                <a:gridCol w="891403"/>
                <a:gridCol w="949857"/>
              </a:tblGrid>
              <a:tr h="45476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  <a:endParaRPr lang="zh-CN" altLang="en-US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型</a:t>
                      </a:r>
                      <a:endParaRPr lang="zh-CN" altLang="en-US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能源类型</a:t>
                      </a:r>
                      <a:endParaRPr lang="zh-CN" altLang="en-US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OP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OP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0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4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生命周期销量</a:t>
                      </a:r>
                      <a:endParaRPr lang="zh-CN" altLang="en-US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6M0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C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.08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9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,35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2,14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6M1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C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9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9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6M1R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9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9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1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6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26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C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0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,336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1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8,336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26R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.12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1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7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0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X17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30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7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X18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4.12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9.12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6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1M0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C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.09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,314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1,024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1M1R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9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0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98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21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CE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4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TBD)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6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8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0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21R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.10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6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7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8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5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M17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P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12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8.12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6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4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M18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P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3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8.03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,1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9,1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1E-B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0.10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12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,5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1E(TBD)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8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.12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,5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,5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Y1E(TBD)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9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H13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0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两厢轿车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.12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7.12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0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4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S16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9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8.09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3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7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X15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4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9.06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5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8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4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X16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12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6.12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,5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1,5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1,8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,9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7,2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X18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4.03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9.03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17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P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.03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30.03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2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S16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3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8.03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,000 </a:t>
                      </a:r>
                      <a:endParaRPr lang="en-US" altLang="zh-CN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5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381"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,5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9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1,5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28,6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7,8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77,9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</a:t>
                      </a:r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,856,300 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28" marR="7228" marT="722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5" name="文本框 4"/>
          <p:cNvSpPr txBox="1"/>
          <p:nvPr/>
        </p:nvSpPr>
        <p:spPr>
          <a:xfrm>
            <a:off x="777667" y="6272613"/>
            <a:ext cx="6845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仅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供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网联院暂用，近期可能会有车型、销量的调整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 txBox="1"/>
          <p:nvPr/>
        </p:nvSpPr>
        <p:spPr>
          <a:xfrm>
            <a:off x="310059" y="253659"/>
            <a:ext cx="10881887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宝汽销量规划</a:t>
            </a:r>
            <a:r>
              <a:rPr lang="en-US" altLang="zh-CN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19</a:t>
            </a:r>
            <a:r>
              <a:rPr lang="zh-CN" altLang="en-US" sz="18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年</a:t>
            </a:r>
            <a:r>
              <a:rPr lang="en-US" altLang="zh-CN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12</a:t>
            </a:r>
            <a:r>
              <a:rPr lang="zh-CN" altLang="en-US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月版</a:t>
            </a:r>
            <a:r>
              <a:rPr lang="en-US" altLang="zh-CN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-</a:t>
            </a:r>
            <a:r>
              <a:rPr lang="zh-CN" altLang="en-US" sz="18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/>
                <a:cs typeface="Verdana" panose="020B0804030504040204" pitchFamily="34" charset="0"/>
              </a:rPr>
              <a:t>乐观版</a:t>
            </a:r>
            <a:endParaRPr lang="zh-CN" altLang="en-US" sz="1800" b="1" dirty="0">
              <a:solidFill>
                <a:prstClr val="black"/>
              </a:solidFill>
              <a:latin typeface="微软雅黑" panose="020B0503020204020204" pitchFamily="34" charset="-122"/>
              <a:ea typeface="微软雅黑"/>
              <a:cs typeface="Verdana" panose="020B0804030504040204" pitchFamily="34" charset="0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888760" y="1059675"/>
          <a:ext cx="10588241" cy="5117287"/>
        </p:xfrm>
        <a:graphic>
          <a:graphicData uri="http://schemas.openxmlformats.org/drawingml/2006/table">
            <a:tbl>
              <a:tblPr/>
              <a:tblGrid>
                <a:gridCol w="663529"/>
                <a:gridCol w="931766"/>
                <a:gridCol w="931766"/>
                <a:gridCol w="790589"/>
                <a:gridCol w="663529"/>
                <a:gridCol w="663529"/>
                <a:gridCol w="832942"/>
                <a:gridCol w="832942"/>
                <a:gridCol w="832942"/>
                <a:gridCol w="832942"/>
                <a:gridCol w="832942"/>
                <a:gridCol w="861176"/>
                <a:gridCol w="917647"/>
              </a:tblGrid>
              <a:tr h="43838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</a:t>
                      </a:r>
                      <a:endParaRPr lang="zh-CN" altLang="en-US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型</a:t>
                      </a:r>
                      <a:endParaRPr lang="zh-CN" altLang="en-US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能源类型</a:t>
                      </a:r>
                      <a:endParaRPr lang="zh-CN" altLang="en-US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OP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OP</a:t>
                      </a:r>
                      <a:endParaRPr lang="en-US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0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4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</a:t>
                      </a:r>
                      <a:endParaRPr lang="en-US" altLang="zh-CN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生命周期销量</a:t>
                      </a:r>
                      <a:endParaRPr lang="zh-CN" altLang="en-US" sz="9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6M0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CE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.08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9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,35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,000 </a:t>
                      </a:r>
                      <a:endParaRPr lang="en-US" altLang="zh-CN" sz="8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2,14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6M1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CE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9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9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6M1R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9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9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1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6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26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CE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0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,336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5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1,336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26R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.12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7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6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4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X17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30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8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X18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4.12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9.12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1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4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1M0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CE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.09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,314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1,024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1M1R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9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0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937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21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CE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4</a:t>
                      </a:r>
                      <a:b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TBD)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6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7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9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0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21R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.10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6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9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5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M17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P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12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8.12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,3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1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3,3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M18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P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3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8.03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,6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5,3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1E-B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0.10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12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,5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1E(TBD)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8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.12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,5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,5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Y1E(TBD)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9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其他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H13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0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两厢轿车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.12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7.12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0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S16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9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8.09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2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3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3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X15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4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9.06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2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9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49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X16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.12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6.12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,5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1,5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1,8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,9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7,2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X18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U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4.03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9.03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2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M17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</a:t>
                      </a: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P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5.03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30.03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7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平台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S16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+</a:t>
                      </a:r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三厢轿车</a:t>
                      </a:r>
                      <a:endParaRPr lang="zh-CN" alt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EV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.03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8.03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 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8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8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</a:t>
                      </a:r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9,000 </a:t>
                      </a:r>
                      <a:endParaRPr lang="en-US" altLang="zh-CN" sz="8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</a:t>
                      </a:r>
                      <a:r>
                        <a:rPr lang="en-US" altLang="zh-CN" sz="8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7,000 </a:t>
                      </a:r>
                      <a:endParaRPr lang="en-US" altLang="zh-CN" sz="8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192"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  <a:endParaRPr lang="zh-CN" altLang="en-US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,5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0,0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31,5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81,1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5,1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0,900 </a:t>
                      </a:r>
                      <a:endParaRPr lang="en-US" altLang="zh-CN" sz="900" b="1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</a:t>
                      </a:r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,793,800 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169" marR="7169" marT="716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5" name="文本框 4"/>
          <p:cNvSpPr txBox="1"/>
          <p:nvPr/>
        </p:nvSpPr>
        <p:spPr>
          <a:xfrm>
            <a:off x="777667" y="6272613"/>
            <a:ext cx="6845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仅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供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网联院暂用，近期可能会有车型、销量的调整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pDtxs7Xnglkqe30Q4iS4Bow"/>
</p:tagLst>
</file>

<file path=ppt/tags/tag10.xml><?xml version="1.0" encoding="utf-8"?>
<p:tagLst xmlns:p="http://schemas.openxmlformats.org/presentationml/2006/main">
  <p:tag name="NAME" val="MoonShape"/>
  <p:tag name="ANGLE" val="4"/>
</p:tagLst>
</file>

<file path=ppt/tags/tag11.xml><?xml version="1.0" encoding="utf-8"?>
<p:tagLst xmlns:p="http://schemas.openxmlformats.org/presentationml/2006/main">
  <p:tag name="NAME" val="MoonHalfShape"/>
  <p:tag name="ANGLE" val="4"/>
</p:tagLst>
</file>

<file path=ppt/tags/tag12.xml><?xml version="1.0" encoding="utf-8"?>
<p:tagLst xmlns:p="http://schemas.openxmlformats.org/presentationml/2006/main">
  <p:tag name="NAME" val="Moon"/>
</p:tagLst>
</file>

<file path=ppt/tags/tag13.xml><?xml version="1.0" encoding="utf-8"?>
<p:tagLst xmlns:p="http://schemas.openxmlformats.org/presentationml/2006/main">
  <p:tag name="NAME" val="MoonShape"/>
  <p:tag name="ANGLE" val="5"/>
</p:tagLst>
</file>

<file path=ppt/tags/tag14.xml><?xml version="1.0" encoding="utf-8"?>
<p:tagLst xmlns:p="http://schemas.openxmlformats.org/presentationml/2006/main">
  <p:tag name="NAME" val="MoonHalfShape"/>
  <p:tag name="ANGLE" val="5"/>
</p:tagLst>
</file>

<file path=ppt/tags/tag15.xml><?xml version="1.0" encoding="utf-8"?>
<p:tagLst xmlns:p="http://schemas.openxmlformats.org/presentationml/2006/main">
  <p:tag name="NAME" val="Moon"/>
</p:tagLst>
</file>

<file path=ppt/tags/tag16.xml><?xml version="1.0" encoding="utf-8"?>
<p:tagLst xmlns:p="http://schemas.openxmlformats.org/presentationml/2006/main">
  <p:tag name="NAME" val="MoonShape"/>
  <p:tag name="ANGLE" val="3"/>
</p:tagLst>
</file>

<file path=ppt/tags/tag17.xml><?xml version="1.0" encoding="utf-8"?>
<p:tagLst xmlns:p="http://schemas.openxmlformats.org/presentationml/2006/main">
  <p:tag name="NAME" val="MoonHalfShape"/>
  <p:tag name="ANGLE" val="4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NAME" val="Moon"/>
</p:tagLst>
</file>

<file path=ppt/tags/tag4.xml><?xml version="1.0" encoding="utf-8"?>
<p:tagLst xmlns:p="http://schemas.openxmlformats.org/presentationml/2006/main">
  <p:tag name="NAME" val="MoonShape"/>
  <p:tag name="ANGLE" val="1"/>
</p:tagLst>
</file>

<file path=ppt/tags/tag5.xml><?xml version="1.0" encoding="utf-8"?>
<p:tagLst xmlns:p="http://schemas.openxmlformats.org/presentationml/2006/main">
  <p:tag name="NAME" val="MoonHalfShape"/>
  <p:tag name="ANGLE" val="1"/>
</p:tagLst>
</file>

<file path=ppt/tags/tag6.xml><?xml version="1.0" encoding="utf-8"?>
<p:tagLst xmlns:p="http://schemas.openxmlformats.org/presentationml/2006/main">
  <p:tag name="NAME" val="Moon"/>
</p:tagLst>
</file>

<file path=ppt/tags/tag7.xml><?xml version="1.0" encoding="utf-8"?>
<p:tagLst xmlns:p="http://schemas.openxmlformats.org/presentationml/2006/main">
  <p:tag name="NAME" val="MoonShape"/>
  <p:tag name="ANGLE" val="2"/>
</p:tagLst>
</file>

<file path=ppt/tags/tag8.xml><?xml version="1.0" encoding="utf-8"?>
<p:tagLst xmlns:p="http://schemas.openxmlformats.org/presentationml/2006/main">
  <p:tag name="NAME" val="MoonHalfShape"/>
  <p:tag name="ANGLE" val="2"/>
</p:tagLst>
</file>

<file path=ppt/tags/tag9.xml><?xml version="1.0" encoding="utf-8"?>
<p:tagLst xmlns:p="http://schemas.openxmlformats.org/presentationml/2006/main">
  <p:tag name="NAME" val="Moon"/>
</p:tagLst>
</file>

<file path=ppt/theme/theme1.xml><?xml version="1.0" encoding="utf-8"?>
<a:theme xmlns:a="http://schemas.openxmlformats.org/drawingml/2006/main" name="128_Qoros_CF_w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69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7D0A3C"/>
        </a:dk2>
        <a:lt2>
          <a:srgbClr val="333333"/>
        </a:lt2>
        <a:accent1>
          <a:srgbClr val="E1E1E1"/>
        </a:accent1>
        <a:accent2>
          <a:srgbClr val="969696"/>
        </a:accent2>
        <a:accent3>
          <a:srgbClr val="002D7D"/>
        </a:accent3>
        <a:accent4>
          <a:srgbClr val="7D0A3C"/>
        </a:accent4>
        <a:accent5>
          <a:srgbClr val="FF6600"/>
        </a:accent5>
        <a:accent6>
          <a:srgbClr val="808080"/>
        </a:accent6>
        <a:hlink>
          <a:srgbClr val="002D7D"/>
        </a:hlink>
        <a:folHlink>
          <a:srgbClr val="7D0A3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45</Words>
  <Application>WPS 演示</Application>
  <PresentationFormat>宽屏</PresentationFormat>
  <Paragraphs>1364</Paragraphs>
  <Slides>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22" baseType="lpstr">
      <vt:lpstr>Arial</vt:lpstr>
      <vt:lpstr>方正书宋_GBK</vt:lpstr>
      <vt:lpstr>Wingdings</vt:lpstr>
      <vt:lpstr>Century Gothic</vt:lpstr>
      <vt:lpstr>苹方-简</vt:lpstr>
      <vt:lpstr>仿宋</vt:lpstr>
      <vt:lpstr>微软雅黑</vt:lpstr>
      <vt:lpstr>Calibri</vt:lpstr>
      <vt:lpstr>Helvetica Neue</vt:lpstr>
      <vt:lpstr>宋体</vt:lpstr>
      <vt:lpstr>汉仪书宋二KW</vt:lpstr>
      <vt:lpstr>汉仪旗黑KW</vt:lpstr>
      <vt:lpstr>微软雅黑</vt:lpstr>
      <vt:lpstr>Verdana</vt:lpstr>
      <vt:lpstr>汉仪仿宋KW</vt:lpstr>
      <vt:lpstr>宋体</vt:lpstr>
      <vt:lpstr>Arial Unicode MS</vt:lpstr>
      <vt:lpstr>128_Qoros_CF_wide</vt:lpstr>
      <vt:lpstr>TCLayout.ActiveDocument.1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程建伟</dc:creator>
  <cp:lastModifiedBy>jiaashley</cp:lastModifiedBy>
  <cp:revision>6</cp:revision>
  <dcterms:created xsi:type="dcterms:W3CDTF">2020-03-08T12:56:04Z</dcterms:created>
  <dcterms:modified xsi:type="dcterms:W3CDTF">2020-03-08T12:5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2.0.1.3256</vt:lpwstr>
  </property>
</Properties>
</file>